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378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5F7EF1-28CD-C53A-599C-BCA4E9D686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4ECA09C-9A96-8099-4821-2CC1C0BA863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63F9E24-1D2A-56E5-5102-399F75786E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416AAC-A085-4C1F-B063-F360138F71F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08F9D5-63B9-4088-A0EA-655CDC6DDC5F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46160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EE24C7-AF0F-2142-3B1F-919C006C09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Title 178">
            <a:extLst>
              <a:ext uri="{FF2B5EF4-FFF2-40B4-BE49-F238E27FC236}">
                <a16:creationId xmlns:a16="http://schemas.microsoft.com/office/drawing/2014/main" id="{D2D07A49-606B-BF95-24D0-58CC4678ED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5"/>
          </a:xfrm>
        </p:spPr>
        <p:txBody>
          <a:bodyPr/>
          <a:lstStyle/>
          <a:p>
            <a:r>
              <a:rPr lang="en-US" dirty="0"/>
              <a:t>Four-Column Layou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755285E-A7C1-A45C-4FAA-91C89A86ACC6}"/>
              </a:ext>
            </a:extLst>
          </p:cNvPr>
          <p:cNvSpPr/>
          <p:nvPr/>
        </p:nvSpPr>
        <p:spPr>
          <a:xfrm>
            <a:off x="714376" y="1889656"/>
            <a:ext cx="3871912" cy="52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r>
              <a:rPr lang="en-US" sz="2000" b="1" dirty="0"/>
              <a:t>Heading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3A0A6FA-FE36-3A16-A2DA-22E1AA935C3E}"/>
              </a:ext>
            </a:extLst>
          </p:cNvPr>
          <p:cNvSpPr/>
          <p:nvPr/>
        </p:nvSpPr>
        <p:spPr>
          <a:xfrm>
            <a:off x="714376" y="2411655"/>
            <a:ext cx="3871912" cy="68244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nc viverra imperdiet enim. Fusce est. Vivamus a tellus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llentesque habitant morbi tristique senectus et netus et malesuada fames ac turpis egestas. Proin pharetra nonummy pede. Mauris et orci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enean nec lorem. In porttitor. Donec laoreet nonummy augue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1E2367B-AA38-7DB0-3FA2-F77100806E5F}"/>
              </a:ext>
            </a:extLst>
          </p:cNvPr>
          <p:cNvSpPr/>
          <p:nvPr/>
        </p:nvSpPr>
        <p:spPr>
          <a:xfrm>
            <a:off x="5043488" y="1889656"/>
            <a:ext cx="3871912" cy="52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r>
              <a:rPr lang="en-US" sz="2000" b="1" dirty="0"/>
              <a:t>Heading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58A9CE7-D52A-3AE2-FD3F-5C2B36E508EA}"/>
              </a:ext>
            </a:extLst>
          </p:cNvPr>
          <p:cNvSpPr/>
          <p:nvPr/>
        </p:nvSpPr>
        <p:spPr>
          <a:xfrm>
            <a:off x="13701713" y="1889656"/>
            <a:ext cx="3871912" cy="52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r>
              <a:rPr lang="en-US" sz="2000" b="1" dirty="0"/>
              <a:t>Head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CBE5888-5D0A-9CD7-D9F3-87DA49EDBD65}"/>
              </a:ext>
            </a:extLst>
          </p:cNvPr>
          <p:cNvSpPr/>
          <p:nvPr/>
        </p:nvSpPr>
        <p:spPr>
          <a:xfrm>
            <a:off x="5043488" y="2411655"/>
            <a:ext cx="3871912" cy="68244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nc viverra imperdiet enim. Fusce est. Vivamus a tellus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llentesque habitant morbi tristique senectus et netus et malesuada fames ac turpis egestas. Proin pharetra nonummy pede. Mauris et orci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enean nec lorem. In porttitor. Donec laoreet nonummy augue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180803D-CE9B-A61D-E030-2598472E2C42}"/>
              </a:ext>
            </a:extLst>
          </p:cNvPr>
          <p:cNvSpPr/>
          <p:nvPr/>
        </p:nvSpPr>
        <p:spPr>
          <a:xfrm>
            <a:off x="13701713" y="2411655"/>
            <a:ext cx="3871912" cy="68244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nc viverra imperdiet enim. Fusce est. Vivamus a tellus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llentesque habitant morbi tristique senectus et netus et malesuada fames ac turpis egestas. Proin pharetra nonummy pede. Mauris et orci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enean nec lorem. In porttitor. Donec laoreet nonummy augue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941A8BA-CC7E-EC8A-5ECD-79B1D2F0B5D9}"/>
              </a:ext>
            </a:extLst>
          </p:cNvPr>
          <p:cNvSpPr/>
          <p:nvPr/>
        </p:nvSpPr>
        <p:spPr>
          <a:xfrm>
            <a:off x="9372600" y="1889656"/>
            <a:ext cx="3871912" cy="52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r>
              <a:rPr lang="en-US" sz="2000" b="1" dirty="0"/>
              <a:t>Heading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FA8AFC3-83E4-0C09-31B2-DD2DD414EA86}"/>
              </a:ext>
            </a:extLst>
          </p:cNvPr>
          <p:cNvSpPr/>
          <p:nvPr/>
        </p:nvSpPr>
        <p:spPr>
          <a:xfrm>
            <a:off x="9372600" y="2411655"/>
            <a:ext cx="3871912" cy="68244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nc viverra imperdiet enim. Fusce est. Vivamus a tellus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llentesque habitant morbi tristique senectus et netus et malesuada fames ac turpis egestas. Proin pharetra nonummy pede. Mauris et orci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enean nec lorem. In porttitor. Donec laoreet nonummy augue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A2081F-E6A6-367E-9138-01F884DECE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90028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12</TotalTime>
  <Words>340</Words>
  <Application>Microsoft Office PowerPoint</Application>
  <PresentationFormat>Custom</PresentationFormat>
  <Paragraphs>2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Four-Column Layou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20</cp:revision>
  <dcterms:created xsi:type="dcterms:W3CDTF">2006-08-16T00:00:00Z</dcterms:created>
  <dcterms:modified xsi:type="dcterms:W3CDTF">2025-10-06T09:16:27Z</dcterms:modified>
  <cp:category/>
  <dc:identifier>DAGkDf5R9EM</dc:identifier>
</cp:coreProperties>
</file>